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9" r:id="rId4"/>
    <p:sldId id="258" r:id="rId5"/>
    <p:sldId id="260" r:id="rId6"/>
    <p:sldId id="261" r:id="rId7"/>
    <p:sldId id="262" r:id="rId8"/>
    <p:sldId id="263" r:id="rId9"/>
    <p:sldId id="269" r:id="rId10"/>
    <p:sldId id="264" r:id="rId11"/>
    <p:sldId id="265" r:id="rId12"/>
    <p:sldId id="268" r:id="rId13"/>
    <p:sldId id="266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3" d="100"/>
          <a:sy n="103" d="100"/>
        </p:scale>
        <p:origin x="-1134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02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7785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323910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37751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009743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62302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94395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257682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286397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531418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6644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047770-02D1-4727-BB0B-7E361348242C}" type="datetimeFigureOut">
              <a:rPr lang="en-AU" smtClean="0"/>
              <a:t>11/05/2016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43C0D0-D82C-4F6A-8BA3-8F34F0A07FC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97891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" Target="slide2.xml"/><Relationship Id="rId5" Type="http://schemas.openxmlformats.org/officeDocument/2006/relationships/slide" Target="slide4.xml"/><Relationship Id="rId4" Type="http://schemas.openxmlformats.org/officeDocument/2006/relationships/slide" Target="slide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>
            <a:hlinkClick r:id="rId4" action="ppaction://hlinksldjump"/>
          </p:cNvPr>
          <p:cNvSpPr/>
          <p:nvPr/>
        </p:nvSpPr>
        <p:spPr>
          <a:xfrm>
            <a:off x="1219336" y="2117375"/>
            <a:ext cx="2376264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crown land 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cords and prepare 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als</a:t>
            </a:r>
            <a:endParaRPr lang="en-AU" sz="14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2128510" y="1937375"/>
            <a:ext cx="0" cy="180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7">
            <a:hlinkClick r:id="rId5" action="ppaction://hlinksldjump"/>
          </p:cNvPr>
          <p:cNvSpPr/>
          <p:nvPr/>
        </p:nvSpPr>
        <p:spPr>
          <a:xfrm>
            <a:off x="1867408" y="4007362"/>
            <a:ext cx="2376264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</a:t>
            </a:r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se values for number 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neration and reset next values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2675574" y="3827362"/>
            <a:ext cx="0" cy="180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9"/>
          <p:cNvSpPr/>
          <p:nvPr/>
        </p:nvSpPr>
        <p:spPr>
          <a:xfrm>
            <a:off x="2155440" y="4941749"/>
            <a:ext cx="2376264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-generate land parcel and folio records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verall migration process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3078133" y="4761749"/>
            <a:ext cx="0" cy="180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15">
            <a:hlinkClick r:id="rId6" action="ppaction://hlinksldjump"/>
          </p:cNvPr>
          <p:cNvSpPr/>
          <p:nvPr/>
        </p:nvSpPr>
        <p:spPr>
          <a:xfrm>
            <a:off x="960304" y="1163389"/>
            <a:ext cx="2376264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rify all new admin values exist to support crown lan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3343572" y="5715735"/>
            <a:ext cx="0" cy="180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696606" y="6143843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2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03376" y="1411497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23" name="Straight Arrow Connector 22"/>
          <p:cNvCxnSpPr>
            <a:stCxn id="22" idx="6"/>
            <a:endCxn id="16" idx="1"/>
          </p:cNvCxnSpPr>
          <p:nvPr/>
        </p:nvCxnSpPr>
        <p:spPr>
          <a:xfrm>
            <a:off x="666015" y="1541389"/>
            <a:ext cx="294289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2407468" y="5895735"/>
            <a:ext cx="2376264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nerate SQL scripts &amp; log / report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5043163" y="5895734"/>
            <a:ext cx="2376264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ecute SQL scripts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24" name="Straight Arrow Connector 23"/>
          <p:cNvCxnSpPr>
            <a:stCxn id="20" idx="3"/>
            <a:endCxn id="21" idx="1"/>
          </p:cNvCxnSpPr>
          <p:nvPr/>
        </p:nvCxnSpPr>
        <p:spPr>
          <a:xfrm flipV="1">
            <a:off x="4783732" y="6273734"/>
            <a:ext cx="259431" cy="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21" idx="3"/>
            <a:endCxn id="18" idx="2"/>
          </p:cNvCxnSpPr>
          <p:nvPr/>
        </p:nvCxnSpPr>
        <p:spPr>
          <a:xfrm>
            <a:off x="7419427" y="6273734"/>
            <a:ext cx="277179" cy="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ounded Rectangle 38"/>
          <p:cNvSpPr/>
          <p:nvPr/>
        </p:nvSpPr>
        <p:spPr>
          <a:xfrm>
            <a:off x="1487442" y="3072251"/>
            <a:ext cx="2376264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nerate land parcel and folio records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>
            <a:off x="2410135" y="2881345"/>
            <a:ext cx="0" cy="180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9488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06360" y="1058348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eck if land has temporary reservat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encumbrances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806361" y="2149069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eck if land has permanent reservation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3567494" y="1058348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RT1 dealing</a:t>
            </a:r>
          </a:p>
          <a:p>
            <a:pPr algn="ctr"/>
            <a:r>
              <a:rPr lang="en-AU" sz="7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xt dealing number</a:t>
            </a:r>
            <a:endParaRPr lang="en-AU" sz="7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16" name="Straight Arrow Connector 115"/>
          <p:cNvCxnSpPr>
            <a:stCxn id="5" idx="3"/>
            <a:endCxn id="66" idx="1"/>
          </p:cNvCxnSpPr>
          <p:nvPr/>
        </p:nvCxnSpPr>
        <p:spPr>
          <a:xfrm>
            <a:off x="3146360" y="1256348"/>
            <a:ext cx="421134" cy="0"/>
          </a:xfrm>
          <a:prstGeom prst="straightConnector1">
            <a:avLst/>
          </a:prstGeom>
          <a:ln w="28575">
            <a:solidFill>
              <a:srgbClr val="008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1723" y="1126456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400"/>
          </a:p>
        </p:txBody>
      </p:sp>
      <p:cxnSp>
        <p:nvCxnSpPr>
          <p:cNvPr id="137" name="Straight Arrow Connector 136"/>
          <p:cNvCxnSpPr>
            <a:stCxn id="134" idx="6"/>
            <a:endCxn id="5" idx="1"/>
          </p:cNvCxnSpPr>
          <p:nvPr/>
        </p:nvCxnSpPr>
        <p:spPr>
          <a:xfrm>
            <a:off x="534362" y="1256348"/>
            <a:ext cx="271998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/>
          <p:cNvSpPr/>
          <p:nvPr/>
        </p:nvSpPr>
        <p:spPr>
          <a:xfrm>
            <a:off x="6197094" y="1061774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RT1 endorsements</a:t>
            </a:r>
          </a:p>
        </p:txBody>
      </p:sp>
      <p:cxnSp>
        <p:nvCxnSpPr>
          <p:cNvPr id="32" name="Straight Arrow Connector 31"/>
          <p:cNvCxnSpPr>
            <a:stCxn id="66" idx="3"/>
            <a:endCxn id="30" idx="1"/>
          </p:cNvCxnSpPr>
          <p:nvPr/>
        </p:nvCxnSpPr>
        <p:spPr>
          <a:xfrm>
            <a:off x="5907494" y="1256348"/>
            <a:ext cx="289600" cy="3426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30" idx="2"/>
            <a:endCxn id="61" idx="0"/>
          </p:cNvCxnSpPr>
          <p:nvPr/>
        </p:nvCxnSpPr>
        <p:spPr>
          <a:xfrm rot="5400000">
            <a:off x="4326081" y="-891945"/>
            <a:ext cx="691295" cy="5390733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/>
        </p:nvSpPr>
        <p:spPr>
          <a:xfrm>
            <a:off x="3559402" y="2155005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RP1 dealing</a:t>
            </a:r>
          </a:p>
          <a:p>
            <a:pPr algn="ctr"/>
            <a:r>
              <a:rPr lang="en-AU" sz="7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xt dealing number</a:t>
            </a:r>
            <a:endParaRPr lang="en-AU" sz="7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37" name="Straight Arrow Connector 36"/>
          <p:cNvCxnSpPr>
            <a:stCxn id="61" idx="3"/>
            <a:endCxn id="36" idx="1"/>
          </p:cNvCxnSpPr>
          <p:nvPr/>
        </p:nvCxnSpPr>
        <p:spPr>
          <a:xfrm>
            <a:off x="3146361" y="2347069"/>
            <a:ext cx="413041" cy="5936"/>
          </a:xfrm>
          <a:prstGeom prst="straightConnector1">
            <a:avLst/>
          </a:prstGeom>
          <a:ln w="28575">
            <a:solidFill>
              <a:srgbClr val="008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ounded Rectangle 39"/>
          <p:cNvSpPr/>
          <p:nvPr/>
        </p:nvSpPr>
        <p:spPr>
          <a:xfrm>
            <a:off x="6189002" y="2155005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RP1 endorsements</a:t>
            </a:r>
          </a:p>
        </p:txBody>
      </p:sp>
      <p:cxnSp>
        <p:nvCxnSpPr>
          <p:cNvPr id="42" name="Straight Arrow Connector 41"/>
          <p:cNvCxnSpPr>
            <a:stCxn id="36" idx="3"/>
            <a:endCxn id="40" idx="1"/>
          </p:cNvCxnSpPr>
          <p:nvPr/>
        </p:nvCxnSpPr>
        <p:spPr>
          <a:xfrm>
            <a:off x="5899402" y="2353005"/>
            <a:ext cx="28960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>
            <a:stCxn id="40" idx="2"/>
            <a:endCxn id="45" idx="0"/>
          </p:cNvCxnSpPr>
          <p:nvPr/>
        </p:nvCxnSpPr>
        <p:spPr>
          <a:xfrm rot="5400000">
            <a:off x="4304572" y="222793"/>
            <a:ext cx="726218" cy="538264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ounded Rectangle 44"/>
          <p:cNvSpPr/>
          <p:nvPr/>
        </p:nvSpPr>
        <p:spPr>
          <a:xfrm>
            <a:off x="806360" y="3277223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eck if land has native title claim</a:t>
            </a:r>
          </a:p>
        </p:txBody>
      </p:sp>
      <p:sp>
        <p:nvSpPr>
          <p:cNvPr id="46" name="Rounded Rectangle 45"/>
          <p:cNvSpPr/>
          <p:nvPr/>
        </p:nvSpPr>
        <p:spPr>
          <a:xfrm>
            <a:off x="3567494" y="3281198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LU1 dealing</a:t>
            </a:r>
          </a:p>
          <a:p>
            <a:pPr algn="ctr"/>
            <a:r>
              <a:rPr lang="en-AU" sz="7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xt dealing number</a:t>
            </a:r>
            <a:endParaRPr lang="en-AU" sz="7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47" name="Straight Arrow Connector 46"/>
          <p:cNvCxnSpPr>
            <a:stCxn id="45" idx="3"/>
            <a:endCxn id="46" idx="1"/>
          </p:cNvCxnSpPr>
          <p:nvPr/>
        </p:nvCxnSpPr>
        <p:spPr>
          <a:xfrm>
            <a:off x="3146360" y="3475223"/>
            <a:ext cx="421134" cy="3975"/>
          </a:xfrm>
          <a:prstGeom prst="straightConnector1">
            <a:avLst/>
          </a:prstGeom>
          <a:ln w="28575">
            <a:solidFill>
              <a:srgbClr val="008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ounded Rectangle 49"/>
          <p:cNvSpPr/>
          <p:nvPr/>
        </p:nvSpPr>
        <p:spPr>
          <a:xfrm>
            <a:off x="6215764" y="3280301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LU1 endorsements</a:t>
            </a:r>
          </a:p>
        </p:txBody>
      </p:sp>
      <p:cxnSp>
        <p:nvCxnSpPr>
          <p:cNvPr id="52" name="Straight Arrow Connector 51"/>
          <p:cNvCxnSpPr>
            <a:stCxn id="46" idx="3"/>
            <a:endCxn id="50" idx="1"/>
          </p:cNvCxnSpPr>
          <p:nvPr/>
        </p:nvCxnSpPr>
        <p:spPr>
          <a:xfrm flipV="1">
            <a:off x="5907494" y="3478301"/>
            <a:ext cx="308270" cy="897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52"/>
          <p:cNvCxnSpPr>
            <a:stCxn id="50" idx="2"/>
            <a:endCxn id="70" idx="0"/>
          </p:cNvCxnSpPr>
          <p:nvPr/>
        </p:nvCxnSpPr>
        <p:spPr>
          <a:xfrm rot="5400000">
            <a:off x="4285994" y="1357543"/>
            <a:ext cx="781013" cy="54185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ounded Rectangle 69"/>
          <p:cNvSpPr/>
          <p:nvPr/>
        </p:nvSpPr>
        <p:spPr>
          <a:xfrm>
            <a:off x="797235" y="4457314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eck if land has a freehold crown lease folio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3567494" y="4459446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CRLE dealing</a:t>
            </a:r>
          </a:p>
          <a:p>
            <a:pPr algn="ctr"/>
            <a:r>
              <a:rPr lang="en-AU" sz="7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xt dealing number</a:t>
            </a:r>
            <a:endParaRPr lang="en-AU" sz="7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72" name="Straight Arrow Connector 71"/>
          <p:cNvCxnSpPr>
            <a:stCxn id="70" idx="3"/>
            <a:endCxn id="71" idx="1"/>
          </p:cNvCxnSpPr>
          <p:nvPr/>
        </p:nvCxnSpPr>
        <p:spPr>
          <a:xfrm>
            <a:off x="3137235" y="4655314"/>
            <a:ext cx="430259" cy="2132"/>
          </a:xfrm>
          <a:prstGeom prst="straightConnector1">
            <a:avLst/>
          </a:prstGeom>
          <a:ln w="28575">
            <a:solidFill>
              <a:srgbClr val="008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32070" y="6352726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600"/>
          </a:p>
        </p:txBody>
      </p:sp>
      <p:sp>
        <p:nvSpPr>
          <p:cNvPr id="76" name="Rounded Rectangle 75"/>
          <p:cNvSpPr/>
          <p:nvPr/>
        </p:nvSpPr>
        <p:spPr>
          <a:xfrm>
            <a:off x="6249558" y="4462177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CRLE endorsements</a:t>
            </a:r>
          </a:p>
        </p:txBody>
      </p:sp>
      <p:cxnSp>
        <p:nvCxnSpPr>
          <p:cNvPr id="78" name="Straight Arrow Connector 77"/>
          <p:cNvCxnSpPr>
            <a:stCxn id="71" idx="3"/>
            <a:endCxn id="76" idx="1"/>
          </p:cNvCxnSpPr>
          <p:nvPr/>
        </p:nvCxnSpPr>
        <p:spPr>
          <a:xfrm>
            <a:off x="5907494" y="4657446"/>
            <a:ext cx="342064" cy="273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Elbow Connector 78"/>
          <p:cNvCxnSpPr>
            <a:stCxn id="76" idx="2"/>
            <a:endCxn id="100" idx="0"/>
          </p:cNvCxnSpPr>
          <p:nvPr/>
        </p:nvCxnSpPr>
        <p:spPr>
          <a:xfrm rot="5400000">
            <a:off x="4295664" y="2537353"/>
            <a:ext cx="803071" cy="544471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ounded Rectangle 99"/>
          <p:cNvSpPr/>
          <p:nvPr/>
        </p:nvSpPr>
        <p:spPr>
          <a:xfrm>
            <a:off x="804839" y="5661248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eck if land has a </a:t>
            </a:r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overnment road</a:t>
            </a:r>
            <a:endParaRPr lang="en-AU" sz="11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1" name="Rounded Rectangle 100"/>
          <p:cNvSpPr/>
          <p:nvPr/>
        </p:nvSpPr>
        <p:spPr>
          <a:xfrm>
            <a:off x="3548620" y="5648215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</a:t>
            </a:r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1 dealing</a:t>
            </a:r>
            <a:endParaRPr lang="en-AU" sz="11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en-AU" sz="7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xt dealing number</a:t>
            </a:r>
            <a:endParaRPr lang="en-AU" sz="7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02" name="Straight Arrow Connector 101"/>
          <p:cNvCxnSpPr>
            <a:stCxn id="100" idx="3"/>
            <a:endCxn id="101" idx="1"/>
          </p:cNvCxnSpPr>
          <p:nvPr/>
        </p:nvCxnSpPr>
        <p:spPr>
          <a:xfrm flipV="1">
            <a:off x="3144839" y="5846215"/>
            <a:ext cx="403781" cy="13033"/>
          </a:xfrm>
          <a:prstGeom prst="straightConnector1">
            <a:avLst/>
          </a:prstGeom>
          <a:ln w="28575">
            <a:solidFill>
              <a:srgbClr val="008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04"/>
          <p:cNvSpPr/>
          <p:nvPr/>
        </p:nvSpPr>
        <p:spPr>
          <a:xfrm>
            <a:off x="6230684" y="5650946"/>
            <a:ext cx="2340000" cy="39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</a:t>
            </a:r>
            <a:r>
              <a:rPr lang="en-AU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1 endorsements</a:t>
            </a:r>
            <a:endParaRPr lang="en-AU" sz="11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06" name="Straight Arrow Connector 105"/>
          <p:cNvCxnSpPr>
            <a:stCxn id="101" idx="3"/>
            <a:endCxn id="105" idx="1"/>
          </p:cNvCxnSpPr>
          <p:nvPr/>
        </p:nvCxnSpPr>
        <p:spPr>
          <a:xfrm>
            <a:off x="5888620" y="5846215"/>
            <a:ext cx="342064" cy="273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stCxn id="100" idx="2"/>
          </p:cNvCxnSpPr>
          <p:nvPr/>
        </p:nvCxnSpPr>
        <p:spPr>
          <a:xfrm>
            <a:off x="1974839" y="6057248"/>
            <a:ext cx="1104" cy="267494"/>
          </a:xfrm>
          <a:prstGeom prst="straightConnector1">
            <a:avLst/>
          </a:prstGeom>
          <a:ln w="28575">
            <a:solidFill>
              <a:srgbClr val="C0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Elbow Connector 226"/>
          <p:cNvCxnSpPr>
            <a:stCxn id="105" idx="2"/>
            <a:endCxn id="73" idx="6"/>
          </p:cNvCxnSpPr>
          <p:nvPr/>
        </p:nvCxnSpPr>
        <p:spPr>
          <a:xfrm rot="5400000">
            <a:off x="4529861" y="3611795"/>
            <a:ext cx="435672" cy="5305975"/>
          </a:xfrm>
          <a:prstGeom prst="bentConnector2">
            <a:avLst/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Elbow Connector 233"/>
          <p:cNvCxnSpPr>
            <a:stCxn id="5" idx="2"/>
            <a:endCxn id="61" idx="0"/>
          </p:cNvCxnSpPr>
          <p:nvPr/>
        </p:nvCxnSpPr>
        <p:spPr>
          <a:xfrm rot="16200000" flipH="1">
            <a:off x="1629000" y="1801707"/>
            <a:ext cx="694721" cy="1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Elbow Connector 242"/>
          <p:cNvCxnSpPr>
            <a:stCxn id="61" idx="2"/>
          </p:cNvCxnSpPr>
          <p:nvPr/>
        </p:nvCxnSpPr>
        <p:spPr>
          <a:xfrm rot="5400000">
            <a:off x="1629268" y="2887018"/>
            <a:ext cx="689043" cy="5144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Elbow Connector 246"/>
          <p:cNvCxnSpPr>
            <a:stCxn id="45" idx="2"/>
            <a:endCxn id="70" idx="0"/>
          </p:cNvCxnSpPr>
          <p:nvPr/>
        </p:nvCxnSpPr>
        <p:spPr>
          <a:xfrm rot="5400000">
            <a:off x="1579753" y="4060706"/>
            <a:ext cx="784091" cy="9125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Elbow Connector 250"/>
          <p:cNvCxnSpPr>
            <a:stCxn id="70" idx="2"/>
          </p:cNvCxnSpPr>
          <p:nvPr/>
        </p:nvCxnSpPr>
        <p:spPr>
          <a:xfrm rot="5400000">
            <a:off x="1573851" y="5243074"/>
            <a:ext cx="783145" cy="3624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546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47768" y="1259225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dealing record</a:t>
            </a:r>
          </a:p>
          <a:p>
            <a:pPr algn="ctr"/>
            <a:r>
              <a:rPr lang="en-AU" sz="8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xt dealing </a:t>
            </a:r>
            <a:r>
              <a:rPr lang="en-AU" sz="8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umber</a:t>
            </a:r>
            <a:endParaRPr lang="en-AU" sz="14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encumbrance dealing records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2157169" y="3293449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encumbrance record</a:t>
            </a:r>
            <a:endParaRPr lang="en-AU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1725121" y="2302190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folio dealing record</a:t>
            </a:r>
          </a:p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AU" sz="8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part / whole)</a:t>
            </a:r>
            <a:endParaRPr lang="en-AU" sz="8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4" name="Straight Arrow Connector 93"/>
          <p:cNvCxnSpPr>
            <a:endCxn id="121" idx="2"/>
          </p:cNvCxnSpPr>
          <p:nvPr/>
        </p:nvCxnSpPr>
        <p:spPr>
          <a:xfrm>
            <a:off x="4029169" y="3671449"/>
            <a:ext cx="34895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>
            <a:stCxn id="66" idx="2"/>
          </p:cNvCxnSpPr>
          <p:nvPr/>
        </p:nvCxnSpPr>
        <p:spPr>
          <a:xfrm>
            <a:off x="2661121" y="3058190"/>
            <a:ext cx="104" cy="23526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78119" y="3541557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27" name="Straight Arrow Connector 126"/>
          <p:cNvCxnSpPr>
            <a:stCxn id="5" idx="2"/>
          </p:cNvCxnSpPr>
          <p:nvPr/>
        </p:nvCxnSpPr>
        <p:spPr>
          <a:xfrm>
            <a:off x="2483768" y="2015225"/>
            <a:ext cx="0" cy="26896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05041" y="150733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37" name="Straight Arrow Connector 136"/>
          <p:cNvCxnSpPr>
            <a:stCxn id="134" idx="6"/>
            <a:endCxn id="5" idx="1"/>
          </p:cNvCxnSpPr>
          <p:nvPr/>
        </p:nvCxnSpPr>
        <p:spPr>
          <a:xfrm flipV="1">
            <a:off x="1267680" y="1637225"/>
            <a:ext cx="280088" cy="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4348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encumbrance endorsement lines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1902638" y="2666399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live endorsement </a:t>
            </a:r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ine(s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)</a:t>
            </a:r>
            <a:endParaRPr lang="en-AU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1470590" y="1508535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live endorsement header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4" name="Straight Arrow Connector 93"/>
          <p:cNvCxnSpPr>
            <a:endCxn id="121" idx="2"/>
          </p:cNvCxnSpPr>
          <p:nvPr/>
        </p:nvCxnSpPr>
        <p:spPr>
          <a:xfrm>
            <a:off x="4727106" y="5324904"/>
            <a:ext cx="34895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>
            <a:stCxn id="66" idx="2"/>
          </p:cNvCxnSpPr>
          <p:nvPr/>
        </p:nvCxnSpPr>
        <p:spPr>
          <a:xfrm>
            <a:off x="2406590" y="2264535"/>
            <a:ext cx="104" cy="401865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76056" y="5195012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27" name="Straight Arrow Connector 126"/>
          <p:cNvCxnSpPr>
            <a:stCxn id="134" idx="6"/>
            <a:endCxn id="66" idx="1"/>
          </p:cNvCxnSpPr>
          <p:nvPr/>
        </p:nvCxnSpPr>
        <p:spPr>
          <a:xfrm flipV="1">
            <a:off x="1051552" y="1886535"/>
            <a:ext cx="419038" cy="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88913" y="175664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" name="Rounded Rectangle 9"/>
          <p:cNvSpPr/>
          <p:nvPr/>
        </p:nvSpPr>
        <p:spPr>
          <a:xfrm>
            <a:off x="2838638" y="4946904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history endorsement </a:t>
            </a:r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ine(s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)</a:t>
            </a:r>
            <a:endParaRPr lang="en-AU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2406590" y="3789040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history endorsement header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3" name="Straight Arrow Connector 12"/>
          <p:cNvCxnSpPr>
            <a:stCxn id="12" idx="2"/>
          </p:cNvCxnSpPr>
          <p:nvPr/>
        </p:nvCxnSpPr>
        <p:spPr>
          <a:xfrm>
            <a:off x="3342590" y="4545040"/>
            <a:ext cx="104" cy="401865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2915816" y="3422399"/>
            <a:ext cx="104" cy="401865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0736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47768" y="1277226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crown land parent / child SPI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parent/child folio records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94" name="Straight Arrow Connector 93"/>
          <p:cNvCxnSpPr>
            <a:endCxn id="121" idx="2"/>
          </p:cNvCxnSpPr>
          <p:nvPr/>
        </p:nvCxnSpPr>
        <p:spPr>
          <a:xfrm>
            <a:off x="5519194" y="2987677"/>
            <a:ext cx="34895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68144" y="2857785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27" name="Straight Arrow Connector 126"/>
          <p:cNvCxnSpPr>
            <a:stCxn id="5" idx="2"/>
          </p:cNvCxnSpPr>
          <p:nvPr/>
        </p:nvCxnSpPr>
        <p:spPr>
          <a:xfrm>
            <a:off x="2483768" y="2033226"/>
            <a:ext cx="0" cy="26896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05041" y="150733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37" name="Straight Arrow Connector 136"/>
          <p:cNvCxnSpPr>
            <a:stCxn id="134" idx="6"/>
            <a:endCxn id="5" idx="1"/>
          </p:cNvCxnSpPr>
          <p:nvPr/>
        </p:nvCxnSpPr>
        <p:spPr>
          <a:xfrm>
            <a:off x="1267680" y="1637226"/>
            <a:ext cx="280088" cy="18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725120" y="2302190"/>
            <a:ext cx="3782983" cy="1370975"/>
            <a:chOff x="1725120" y="2302190"/>
            <a:chExt cx="3782983" cy="1370975"/>
          </a:xfrm>
        </p:grpSpPr>
        <p:sp>
          <p:nvSpPr>
            <p:cNvPr id="66" name="Rounded Rectangle 65"/>
            <p:cNvSpPr/>
            <p:nvPr/>
          </p:nvSpPr>
          <p:spPr>
            <a:xfrm>
              <a:off x="1725120" y="2302190"/>
              <a:ext cx="3782983" cy="1370975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tx1">
                  <a:lumMod val="65000"/>
                  <a:lumOff val="3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400" dirty="0" smtClean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For each combo, check if </a:t>
              </a:r>
              <a:r>
                <a:rPr lang="en-AU" sz="1400" dirty="0" err="1" smtClean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vol</a:t>
              </a:r>
              <a:r>
                <a:rPr lang="en-AU" sz="1400" dirty="0" smtClean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/</a:t>
              </a:r>
              <a:r>
                <a:rPr lang="en-AU" sz="1400" dirty="0" err="1" smtClean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fols</a:t>
              </a:r>
              <a:r>
                <a:rPr lang="en-AU" sz="1400" dirty="0" smtClean="0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exist and parent / child relationship exists, then create as necessary</a:t>
              </a:r>
              <a:endPara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6" name="Gebogener Pfeil 487"/>
            <p:cNvSpPr/>
            <p:nvPr/>
          </p:nvSpPr>
          <p:spPr>
            <a:xfrm rot="16200000" flipH="1">
              <a:off x="3419768" y="3388126"/>
              <a:ext cx="236855" cy="236855"/>
            </a:xfrm>
            <a:prstGeom prst="circularArrow">
              <a:avLst>
                <a:gd name="adj1" fmla="val 726"/>
                <a:gd name="adj2" fmla="val 1142319"/>
                <a:gd name="adj3" fmla="val 20457684"/>
                <a:gd name="adj4" fmla="val 853095"/>
                <a:gd name="adj5" fmla="val 12135"/>
              </a:avLst>
            </a:prstGeom>
            <a:solidFill>
              <a:schemeClr val="tx1"/>
            </a:solidFill>
            <a:ln>
              <a:solidFill>
                <a:srgbClr val="0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</p:spTree>
    <p:extLst>
      <p:ext uri="{BB962C8B-B14F-4D97-AF65-F5344CB8AC3E}">
        <p14:creationId xmlns:p14="http://schemas.microsoft.com/office/powerpoint/2010/main" val="2078790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300799" y="1153789"/>
            <a:ext cx="2376264" cy="82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rify crown land dealing types exist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7" name="Straight Arrow Connector 6"/>
          <p:cNvCxnSpPr>
            <a:stCxn id="5" idx="2"/>
            <a:endCxn id="8" idx="0"/>
          </p:cNvCxnSpPr>
          <p:nvPr/>
        </p:nvCxnSpPr>
        <p:spPr>
          <a:xfrm>
            <a:off x="2488931" y="1981789"/>
            <a:ext cx="0" cy="18210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1300799" y="2163893"/>
            <a:ext cx="2376264" cy="82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rify crown encumbrance types exist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1293001" y="3145812"/>
            <a:ext cx="2376264" cy="82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rify crown folio type exists</a:t>
            </a:r>
          </a:p>
          <a:p>
            <a:pPr algn="ctr"/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trieve new crown land admin values exist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5" name="Straight Arrow Connector 14"/>
          <p:cNvCxnSpPr>
            <a:stCxn id="5" idx="3"/>
            <a:endCxn id="17" idx="2"/>
          </p:cNvCxnSpPr>
          <p:nvPr/>
        </p:nvCxnSpPr>
        <p:spPr>
          <a:xfrm>
            <a:off x="3677063" y="1567789"/>
            <a:ext cx="512023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ung 407"/>
          <p:cNvGrpSpPr/>
          <p:nvPr/>
        </p:nvGrpSpPr>
        <p:grpSpPr>
          <a:xfrm>
            <a:off x="4189086" y="1318501"/>
            <a:ext cx="504056" cy="498575"/>
            <a:chOff x="1997887" y="3589337"/>
            <a:chExt cx="146051" cy="144463"/>
          </a:xfrm>
        </p:grpSpPr>
        <p:sp>
          <p:nvSpPr>
            <p:cNvPr id="17" name="Oval 228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4" name="Rounded Rectangle 23"/>
          <p:cNvSpPr/>
          <p:nvPr/>
        </p:nvSpPr>
        <p:spPr>
          <a:xfrm>
            <a:off x="1282098" y="4177003"/>
            <a:ext cx="2376264" cy="82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rify crown land administrator proprietor type exists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25" name="Straight Arrow Connector 24"/>
          <p:cNvCxnSpPr>
            <a:stCxn id="8" idx="2"/>
            <a:endCxn id="10" idx="0"/>
          </p:cNvCxnSpPr>
          <p:nvPr/>
        </p:nvCxnSpPr>
        <p:spPr>
          <a:xfrm flipH="1">
            <a:off x="2481133" y="2991893"/>
            <a:ext cx="7798" cy="153919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8" idx="3"/>
            <a:endCxn id="28" idx="2"/>
          </p:cNvCxnSpPr>
          <p:nvPr/>
        </p:nvCxnSpPr>
        <p:spPr>
          <a:xfrm>
            <a:off x="3677063" y="2577893"/>
            <a:ext cx="493467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uppierung 407"/>
          <p:cNvGrpSpPr/>
          <p:nvPr/>
        </p:nvGrpSpPr>
        <p:grpSpPr>
          <a:xfrm>
            <a:off x="4170530" y="2328605"/>
            <a:ext cx="504056" cy="498575"/>
            <a:chOff x="1997887" y="3589337"/>
            <a:chExt cx="146051" cy="144463"/>
          </a:xfrm>
        </p:grpSpPr>
        <p:sp>
          <p:nvSpPr>
            <p:cNvPr id="28" name="Oval 22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cxnSp>
        <p:nvCxnSpPr>
          <p:cNvPr id="30" name="Straight Arrow Connector 29"/>
          <p:cNvCxnSpPr>
            <a:stCxn id="10" idx="2"/>
            <a:endCxn id="24" idx="0"/>
          </p:cNvCxnSpPr>
          <p:nvPr/>
        </p:nvCxnSpPr>
        <p:spPr>
          <a:xfrm flipH="1">
            <a:off x="2470230" y="3973812"/>
            <a:ext cx="10903" cy="20319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10" idx="3"/>
            <a:endCxn id="33" idx="2"/>
          </p:cNvCxnSpPr>
          <p:nvPr/>
        </p:nvCxnSpPr>
        <p:spPr>
          <a:xfrm>
            <a:off x="3669265" y="3559812"/>
            <a:ext cx="463694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uppierung 407"/>
          <p:cNvGrpSpPr/>
          <p:nvPr/>
        </p:nvGrpSpPr>
        <p:grpSpPr>
          <a:xfrm>
            <a:off x="4132959" y="3310524"/>
            <a:ext cx="504056" cy="498575"/>
            <a:chOff x="1997887" y="3589337"/>
            <a:chExt cx="146051" cy="144463"/>
          </a:xfrm>
        </p:grpSpPr>
        <p:sp>
          <p:nvSpPr>
            <p:cNvPr id="33" name="Oval 2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cxnSp>
        <p:nvCxnSpPr>
          <p:cNvPr id="35" name="Straight Arrow Connector 34"/>
          <p:cNvCxnSpPr>
            <a:stCxn id="24" idx="3"/>
            <a:endCxn id="37" idx="2"/>
          </p:cNvCxnSpPr>
          <p:nvPr/>
        </p:nvCxnSpPr>
        <p:spPr>
          <a:xfrm>
            <a:off x="3658362" y="4591003"/>
            <a:ext cx="426172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uppierung 407"/>
          <p:cNvGrpSpPr/>
          <p:nvPr/>
        </p:nvGrpSpPr>
        <p:grpSpPr>
          <a:xfrm>
            <a:off x="4084534" y="4341715"/>
            <a:ext cx="504056" cy="498575"/>
            <a:chOff x="1997887" y="3589337"/>
            <a:chExt cx="146051" cy="144463"/>
          </a:xfrm>
        </p:grpSpPr>
        <p:sp>
          <p:nvSpPr>
            <p:cNvPr id="37" name="Oval 22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39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36073" y="1435158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40" name="Straight Arrow Connector 39"/>
          <p:cNvCxnSpPr>
            <a:stCxn id="39" idx="6"/>
          </p:cNvCxnSpPr>
          <p:nvPr/>
        </p:nvCxnSpPr>
        <p:spPr>
          <a:xfrm>
            <a:off x="998712" y="1565050"/>
            <a:ext cx="294289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38910" y="623729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47" name="Straight Arrow Connector 46"/>
          <p:cNvCxnSpPr>
            <a:stCxn id="55" idx="2"/>
            <a:endCxn id="46" idx="0"/>
          </p:cNvCxnSpPr>
          <p:nvPr/>
        </p:nvCxnSpPr>
        <p:spPr>
          <a:xfrm>
            <a:off x="2470230" y="6035322"/>
            <a:ext cx="0" cy="201972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ounded Rectangle 54"/>
          <p:cNvSpPr/>
          <p:nvPr/>
        </p:nvSpPr>
        <p:spPr>
          <a:xfrm>
            <a:off x="1282098" y="5207322"/>
            <a:ext cx="2376264" cy="82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rify all crown land administrators have matching 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ovt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pr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IDs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56" name="Straight Arrow Connector 55"/>
          <p:cNvCxnSpPr>
            <a:stCxn id="55" idx="3"/>
            <a:endCxn id="58" idx="2"/>
          </p:cNvCxnSpPr>
          <p:nvPr/>
        </p:nvCxnSpPr>
        <p:spPr>
          <a:xfrm>
            <a:off x="3658362" y="5621322"/>
            <a:ext cx="444393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Gruppierung 407"/>
          <p:cNvGrpSpPr/>
          <p:nvPr/>
        </p:nvGrpSpPr>
        <p:grpSpPr>
          <a:xfrm>
            <a:off x="4102755" y="5372034"/>
            <a:ext cx="504056" cy="498575"/>
            <a:chOff x="1997887" y="3589337"/>
            <a:chExt cx="146051" cy="144463"/>
          </a:xfrm>
        </p:grpSpPr>
        <p:sp>
          <p:nvSpPr>
            <p:cNvPr id="58" name="Oval 22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cxnSp>
        <p:nvCxnSpPr>
          <p:cNvPr id="76" name="Straight Arrow Connector 75"/>
          <p:cNvCxnSpPr>
            <a:stCxn id="24" idx="2"/>
            <a:endCxn id="55" idx="0"/>
          </p:cNvCxnSpPr>
          <p:nvPr/>
        </p:nvCxnSpPr>
        <p:spPr>
          <a:xfrm>
            <a:off x="2470230" y="5005003"/>
            <a:ext cx="0" cy="202319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4637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/>
          <p:nvPr/>
        </p:nvSpPr>
        <p:spPr>
          <a:xfrm>
            <a:off x="1260842" y="1093996"/>
            <a:ext cx="2376000" cy="90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next dealing number from VTNUM_NUM_HDR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1253020" y="2159710"/>
            <a:ext cx="2376000" cy="90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next 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ol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nd 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l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numbers from VTSYS_NEXT_NO_CTL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trieve base values for number generation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5" name="Straight Arrow Connector 14"/>
          <p:cNvCxnSpPr>
            <a:endCxn id="17" idx="2"/>
          </p:cNvCxnSpPr>
          <p:nvPr/>
        </p:nvCxnSpPr>
        <p:spPr>
          <a:xfrm>
            <a:off x="3636842" y="1579996"/>
            <a:ext cx="503092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ung 407"/>
          <p:cNvGrpSpPr/>
          <p:nvPr/>
        </p:nvGrpSpPr>
        <p:grpSpPr>
          <a:xfrm>
            <a:off x="4139934" y="1330708"/>
            <a:ext cx="504056" cy="498575"/>
            <a:chOff x="1997887" y="3589337"/>
            <a:chExt cx="146051" cy="144463"/>
          </a:xfrm>
        </p:grpSpPr>
        <p:sp>
          <p:nvSpPr>
            <p:cNvPr id="17" name="Oval 228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4" name="Rounded Rectangle 23"/>
          <p:cNvSpPr/>
          <p:nvPr/>
        </p:nvSpPr>
        <p:spPr>
          <a:xfrm>
            <a:off x="1243455" y="3211140"/>
            <a:ext cx="2376000" cy="90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next 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prietor group id </a:t>
            </a:r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rom VTSYS_NEXT_NO_CTL</a:t>
            </a:r>
          </a:p>
          <a:p>
            <a:pPr algn="ctr"/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25" name="Straight Arrow Connector 24"/>
          <p:cNvCxnSpPr>
            <a:stCxn id="8" idx="2"/>
            <a:endCxn id="10" idx="0"/>
          </p:cNvCxnSpPr>
          <p:nvPr/>
        </p:nvCxnSpPr>
        <p:spPr>
          <a:xfrm flipH="1">
            <a:off x="2441020" y="1993996"/>
            <a:ext cx="7822" cy="16571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endCxn id="28" idx="2"/>
          </p:cNvCxnSpPr>
          <p:nvPr/>
        </p:nvCxnSpPr>
        <p:spPr>
          <a:xfrm>
            <a:off x="3629020" y="2613332"/>
            <a:ext cx="502828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uppierung 407"/>
          <p:cNvGrpSpPr/>
          <p:nvPr/>
        </p:nvGrpSpPr>
        <p:grpSpPr>
          <a:xfrm>
            <a:off x="4131848" y="2364044"/>
            <a:ext cx="504056" cy="498575"/>
            <a:chOff x="1997887" y="3589337"/>
            <a:chExt cx="146051" cy="144463"/>
          </a:xfrm>
        </p:grpSpPr>
        <p:sp>
          <p:nvSpPr>
            <p:cNvPr id="28" name="Oval 22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cxnSp>
        <p:nvCxnSpPr>
          <p:cNvPr id="30" name="Straight Arrow Connector 29"/>
          <p:cNvCxnSpPr>
            <a:stCxn id="10" idx="2"/>
            <a:endCxn id="24" idx="0"/>
          </p:cNvCxnSpPr>
          <p:nvPr/>
        </p:nvCxnSpPr>
        <p:spPr>
          <a:xfrm flipH="1">
            <a:off x="2431455" y="3059710"/>
            <a:ext cx="9565" cy="15143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endCxn id="33" idx="2"/>
          </p:cNvCxnSpPr>
          <p:nvPr/>
        </p:nvCxnSpPr>
        <p:spPr>
          <a:xfrm>
            <a:off x="3610855" y="3679504"/>
            <a:ext cx="502828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uppierung 407"/>
          <p:cNvGrpSpPr/>
          <p:nvPr/>
        </p:nvGrpSpPr>
        <p:grpSpPr>
          <a:xfrm>
            <a:off x="4113683" y="3430216"/>
            <a:ext cx="504056" cy="498575"/>
            <a:chOff x="1997887" y="3589337"/>
            <a:chExt cx="146051" cy="144463"/>
          </a:xfrm>
        </p:grpSpPr>
        <p:sp>
          <p:nvSpPr>
            <p:cNvPr id="33" name="Oval 2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4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28507" y="145010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42" name="Straight Arrow Connector 41"/>
          <p:cNvCxnSpPr>
            <a:stCxn id="41" idx="6"/>
          </p:cNvCxnSpPr>
          <p:nvPr/>
        </p:nvCxnSpPr>
        <p:spPr>
          <a:xfrm>
            <a:off x="991146" y="1579996"/>
            <a:ext cx="269696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24" idx="2"/>
            <a:endCxn id="35" idx="0"/>
          </p:cNvCxnSpPr>
          <p:nvPr/>
        </p:nvCxnSpPr>
        <p:spPr>
          <a:xfrm>
            <a:off x="2431455" y="4111140"/>
            <a:ext cx="17886" cy="175459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ounded Rectangle 34"/>
          <p:cNvSpPr/>
          <p:nvPr/>
        </p:nvSpPr>
        <p:spPr>
          <a:xfrm>
            <a:off x="1261341" y="4286599"/>
            <a:ext cx="2376000" cy="90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next land parcel id from VTSYS_NEXT_NO_CTL</a:t>
            </a:r>
          </a:p>
        </p:txBody>
      </p:sp>
      <p:cxnSp>
        <p:nvCxnSpPr>
          <p:cNvPr id="36" name="Straight Arrow Connector 35"/>
          <p:cNvCxnSpPr>
            <a:endCxn id="38" idx="2"/>
          </p:cNvCxnSpPr>
          <p:nvPr/>
        </p:nvCxnSpPr>
        <p:spPr>
          <a:xfrm>
            <a:off x="3610855" y="4754963"/>
            <a:ext cx="502828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uppierung 407"/>
          <p:cNvGrpSpPr/>
          <p:nvPr/>
        </p:nvGrpSpPr>
        <p:grpSpPr>
          <a:xfrm>
            <a:off x="4113683" y="4505675"/>
            <a:ext cx="504056" cy="498575"/>
            <a:chOff x="1997887" y="3589337"/>
            <a:chExt cx="146051" cy="144463"/>
          </a:xfrm>
        </p:grpSpPr>
        <p:sp>
          <p:nvSpPr>
            <p:cNvPr id="38" name="Oval 22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40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22211" y="6423556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45" name="Straight Arrow Connector 44"/>
          <p:cNvCxnSpPr>
            <a:stCxn id="46" idx="2"/>
          </p:cNvCxnSpPr>
          <p:nvPr/>
        </p:nvCxnSpPr>
        <p:spPr>
          <a:xfrm>
            <a:off x="2453531" y="6266568"/>
            <a:ext cx="0" cy="135066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stCxn id="35" idx="2"/>
            <a:endCxn id="46" idx="0"/>
          </p:cNvCxnSpPr>
          <p:nvPr/>
        </p:nvCxnSpPr>
        <p:spPr>
          <a:xfrm>
            <a:off x="2449341" y="5186599"/>
            <a:ext cx="4190" cy="179969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ounded Rectangle 45"/>
          <p:cNvSpPr/>
          <p:nvPr/>
        </p:nvSpPr>
        <p:spPr>
          <a:xfrm>
            <a:off x="1265531" y="5366568"/>
            <a:ext cx="2376000" cy="90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next land parcel address id from VTSYS_NEXT_NO_CTL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47" name="Straight Arrow Connector 46"/>
          <p:cNvCxnSpPr>
            <a:stCxn id="46" idx="3"/>
            <a:endCxn id="49" idx="2"/>
          </p:cNvCxnSpPr>
          <p:nvPr/>
        </p:nvCxnSpPr>
        <p:spPr>
          <a:xfrm>
            <a:off x="3641531" y="5816568"/>
            <a:ext cx="439404" cy="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uppierung 407"/>
          <p:cNvGrpSpPr/>
          <p:nvPr/>
        </p:nvGrpSpPr>
        <p:grpSpPr>
          <a:xfrm>
            <a:off x="4080935" y="5567280"/>
            <a:ext cx="504056" cy="498575"/>
            <a:chOff x="1997887" y="3589337"/>
            <a:chExt cx="146051" cy="144463"/>
          </a:xfrm>
        </p:grpSpPr>
        <p:sp>
          <p:nvSpPr>
            <p:cNvPr id="49" name="Oval 22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997887" y="3589337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Multiplizieren 409"/>
            <p:cNvSpPr/>
            <p:nvPr/>
          </p:nvSpPr>
          <p:spPr>
            <a:xfrm>
              <a:off x="2001520" y="3590925"/>
              <a:ext cx="139700" cy="139700"/>
            </a:xfrm>
            <a:prstGeom prst="mathMultiply">
              <a:avLst>
                <a:gd name="adj1" fmla="val 7449"/>
              </a:avLst>
            </a:prstGeom>
            <a:solidFill>
              <a:srgbClr val="000000"/>
            </a:solidFill>
            <a:ln w="31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</p:spTree>
    <p:extLst>
      <p:ext uri="{BB962C8B-B14F-4D97-AF65-F5344CB8AC3E}">
        <p14:creationId xmlns:p14="http://schemas.microsoft.com/office/powerpoint/2010/main" val="1018873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pare values for migration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94" name="Straight Arrow Connector 93"/>
          <p:cNvCxnSpPr>
            <a:endCxn id="121" idx="2"/>
          </p:cNvCxnSpPr>
          <p:nvPr/>
        </p:nvCxnSpPr>
        <p:spPr>
          <a:xfrm>
            <a:off x="4775738" y="5974868"/>
            <a:ext cx="334272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>
            <a:stCxn id="13" idx="2"/>
          </p:cNvCxnSpPr>
          <p:nvPr/>
        </p:nvCxnSpPr>
        <p:spPr>
          <a:xfrm>
            <a:off x="1908529" y="1730506"/>
            <a:ext cx="0" cy="201936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10010" y="5844976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34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41153" y="124061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37" name="Straight Arrow Connector 136"/>
          <p:cNvCxnSpPr>
            <a:stCxn id="134" idx="6"/>
          </p:cNvCxnSpPr>
          <p:nvPr/>
        </p:nvCxnSpPr>
        <p:spPr>
          <a:xfrm>
            <a:off x="703792" y="1370506"/>
            <a:ext cx="280088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972529" y="1010506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ke local copies of crown land data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1299440" y="1932442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pdate municipality from </a:t>
            </a:r>
            <a:r>
              <a:rPr lang="en-AU" sz="14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cmap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5" name="Straight Arrow Connector 14"/>
          <p:cNvCxnSpPr>
            <a:stCxn id="14" idx="2"/>
          </p:cNvCxnSpPr>
          <p:nvPr/>
        </p:nvCxnSpPr>
        <p:spPr>
          <a:xfrm flipH="1">
            <a:off x="2229631" y="2652442"/>
            <a:ext cx="5809" cy="211683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15"/>
          <p:cNvSpPr/>
          <p:nvPr/>
        </p:nvSpPr>
        <p:spPr>
          <a:xfrm>
            <a:off x="1632160" y="2864125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pulate missing addresses from </a:t>
            </a:r>
            <a:r>
              <a:rPr lang="en-AU" sz="14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cmap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 flipH="1">
            <a:off x="2577183" y="3576097"/>
            <a:ext cx="5809" cy="211683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ounded Rectangle 21"/>
          <p:cNvSpPr/>
          <p:nvPr/>
        </p:nvSpPr>
        <p:spPr>
          <a:xfrm>
            <a:off x="1979712" y="3787780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rieve Land Parcel Ids for parcels already in Freehol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 flipH="1">
            <a:off x="3009231" y="4490675"/>
            <a:ext cx="5809" cy="211683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/>
          <p:cNvSpPr/>
          <p:nvPr/>
        </p:nvSpPr>
        <p:spPr>
          <a:xfrm>
            <a:off x="2411760" y="4702358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tch crown land administrators to </a:t>
            </a:r>
            <a:r>
              <a:rPr lang="en-AU" sz="14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ovt</a:t>
            </a:r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AU" sz="14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pr</a:t>
            </a:r>
            <a:r>
              <a:rPr lang="en-AU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Ids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 flipH="1">
            <a:off x="3442000" y="5403185"/>
            <a:ext cx="5809" cy="211683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ounded Rectangle 25"/>
          <p:cNvSpPr/>
          <p:nvPr/>
        </p:nvSpPr>
        <p:spPr>
          <a:xfrm>
            <a:off x="2844529" y="5614868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nerate text version of CLSR for each parcel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6132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616605" y="1956529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sess crown land recor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2545954" y="4507718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land parcel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nerate land and folio record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4" name="AutoShape 19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18513" y="3775363"/>
            <a:ext cx="505800" cy="467950"/>
          </a:xfrm>
          <a:prstGeom prst="flowChartDecision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2" name="TextBox 21"/>
          <p:cNvSpPr txBox="1"/>
          <p:nvPr/>
        </p:nvSpPr>
        <p:spPr>
          <a:xfrm>
            <a:off x="1956439" y="4536901"/>
            <a:ext cx="725941" cy="441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AU" sz="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w </a:t>
            </a:r>
          </a:p>
          <a:p>
            <a:pPr>
              <a:lnSpc>
                <a:spcPct val="150000"/>
              </a:lnSpc>
            </a:pPr>
            <a:r>
              <a:rPr lang="en-AU" sz="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rcel</a:t>
            </a:r>
          </a:p>
        </p:txBody>
      </p:sp>
      <p:sp>
        <p:nvSpPr>
          <p:cNvPr id="45" name="Rounded Rectangle 44"/>
          <p:cNvSpPr/>
          <p:nvPr/>
        </p:nvSpPr>
        <p:spPr>
          <a:xfrm>
            <a:off x="4356472" y="4507716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active folio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46" name="Straight Arrow Connector 45"/>
          <p:cNvCxnSpPr>
            <a:stCxn id="8" idx="3"/>
            <a:endCxn id="45" idx="1"/>
          </p:cNvCxnSpPr>
          <p:nvPr/>
        </p:nvCxnSpPr>
        <p:spPr>
          <a:xfrm flipV="1">
            <a:off x="4165954" y="4777716"/>
            <a:ext cx="190518" cy="2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/>
          <p:cNvCxnSpPr>
            <a:endCxn id="34" idx="1"/>
          </p:cNvCxnSpPr>
          <p:nvPr/>
        </p:nvCxnSpPr>
        <p:spPr>
          <a:xfrm rot="16200000" flipH="1">
            <a:off x="519652" y="2849353"/>
            <a:ext cx="891067" cy="218192"/>
          </a:xfrm>
          <a:prstGeom prst="bentConnector2">
            <a:avLst/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59"/>
          <p:cNvCxnSpPr>
            <a:stCxn id="44" idx="2"/>
            <a:endCxn id="8" idx="1"/>
          </p:cNvCxnSpPr>
          <p:nvPr/>
        </p:nvCxnSpPr>
        <p:spPr>
          <a:xfrm rot="16200000" flipH="1">
            <a:off x="1991481" y="4223244"/>
            <a:ext cx="534405" cy="574541"/>
          </a:xfrm>
          <a:prstGeom prst="bentConnector2">
            <a:avLst/>
          </a:prstGeom>
          <a:ln w="28575"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ounded Rectangle 60"/>
          <p:cNvSpPr/>
          <p:nvPr/>
        </p:nvSpPr>
        <p:spPr>
          <a:xfrm>
            <a:off x="4344180" y="3739338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cancelled folio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62" name="Straight Arrow Connector 61"/>
          <p:cNvCxnSpPr>
            <a:stCxn id="44" idx="3"/>
            <a:endCxn id="61" idx="1"/>
          </p:cNvCxnSpPr>
          <p:nvPr/>
        </p:nvCxnSpPr>
        <p:spPr>
          <a:xfrm>
            <a:off x="2224313" y="4009338"/>
            <a:ext cx="2119867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ounded Rectangle 65"/>
          <p:cNvSpPr/>
          <p:nvPr/>
        </p:nvSpPr>
        <p:spPr>
          <a:xfrm>
            <a:off x="4386400" y="2512915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cancelled folio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2157980" y="3778506"/>
            <a:ext cx="9751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AU" sz="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isting parcel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2369329" y="2546050"/>
            <a:ext cx="975174" cy="25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AU" sz="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isting parcel</a:t>
            </a:r>
          </a:p>
        </p:txBody>
      </p:sp>
      <p:sp>
        <p:nvSpPr>
          <p:cNvPr id="81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156499" y="2671787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82" name="Straight Arrow Connector 81"/>
          <p:cNvCxnSpPr/>
          <p:nvPr/>
        </p:nvCxnSpPr>
        <p:spPr>
          <a:xfrm flipV="1">
            <a:off x="7892659" y="2801681"/>
            <a:ext cx="243860" cy="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ounded Rectangle 82"/>
          <p:cNvSpPr/>
          <p:nvPr/>
        </p:nvSpPr>
        <p:spPr>
          <a:xfrm>
            <a:off x="6159777" y="4507717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proprietorship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89" name="Elbow Connector 88"/>
          <p:cNvCxnSpPr>
            <a:stCxn id="61" idx="3"/>
            <a:endCxn id="83" idx="0"/>
          </p:cNvCxnSpPr>
          <p:nvPr/>
        </p:nvCxnSpPr>
        <p:spPr>
          <a:xfrm>
            <a:off x="5964180" y="4009338"/>
            <a:ext cx="1005597" cy="498379"/>
          </a:xfrm>
          <a:prstGeom prst="bentConnector2">
            <a:avLst/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>
            <a:stCxn id="45" idx="3"/>
            <a:endCxn id="83" idx="1"/>
          </p:cNvCxnSpPr>
          <p:nvPr/>
        </p:nvCxnSpPr>
        <p:spPr>
          <a:xfrm>
            <a:off x="5976472" y="4777716"/>
            <a:ext cx="183305" cy="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ounded Rectangle 102"/>
          <p:cNvSpPr/>
          <p:nvPr/>
        </p:nvSpPr>
        <p:spPr>
          <a:xfrm>
            <a:off x="6791094" y="6002808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encumbrances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4" name="Rounded Rectangle 103"/>
          <p:cNvSpPr/>
          <p:nvPr/>
        </p:nvSpPr>
        <p:spPr>
          <a:xfrm>
            <a:off x="6530871" y="5243079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history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5" name="Oval 23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27325" y="6232916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06" name="Straight Arrow Connector 105"/>
          <p:cNvCxnSpPr>
            <a:endCxn id="105" idx="2"/>
          </p:cNvCxnSpPr>
          <p:nvPr/>
        </p:nvCxnSpPr>
        <p:spPr>
          <a:xfrm>
            <a:off x="8411093" y="6362808"/>
            <a:ext cx="216232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>
            <a:off x="6951857" y="5035864"/>
            <a:ext cx="0" cy="199865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/>
          <p:nvPr/>
        </p:nvCxnSpPr>
        <p:spPr>
          <a:xfrm>
            <a:off x="7340494" y="5783079"/>
            <a:ext cx="0" cy="21973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3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66399" y="1321553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30" name="Straight Arrow Connector 29"/>
          <p:cNvCxnSpPr>
            <a:stCxn id="29" idx="6"/>
            <a:endCxn id="64" idx="1"/>
          </p:cNvCxnSpPr>
          <p:nvPr/>
        </p:nvCxnSpPr>
        <p:spPr>
          <a:xfrm>
            <a:off x="429038" y="1451445"/>
            <a:ext cx="187567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AutoShape 19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57444" y="2546050"/>
            <a:ext cx="505800" cy="467950"/>
          </a:xfrm>
          <a:prstGeom prst="flowChartDecision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4" name="AutoShape 19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74281" y="3170008"/>
            <a:ext cx="505800" cy="467950"/>
          </a:xfrm>
          <a:prstGeom prst="flowChartDecision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41" name="Elbow Connector 40"/>
          <p:cNvCxnSpPr>
            <a:stCxn id="34" idx="0"/>
            <a:endCxn id="31" idx="1"/>
          </p:cNvCxnSpPr>
          <p:nvPr/>
        </p:nvCxnSpPr>
        <p:spPr>
          <a:xfrm rot="5400000" flipH="1" flipV="1">
            <a:off x="1397321" y="2709886"/>
            <a:ext cx="389983" cy="530263"/>
          </a:xfrm>
          <a:prstGeom prst="bentConnector2">
            <a:avLst/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>
            <a:stCxn id="34" idx="2"/>
            <a:endCxn id="44" idx="1"/>
          </p:cNvCxnSpPr>
          <p:nvPr/>
        </p:nvCxnSpPr>
        <p:spPr>
          <a:xfrm rot="16200000" flipH="1">
            <a:off x="1337157" y="3627982"/>
            <a:ext cx="371380" cy="391332"/>
          </a:xfrm>
          <a:prstGeom prst="bentConnector2">
            <a:avLst/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1344236" y="2718537"/>
            <a:ext cx="975174" cy="25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AU" sz="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ired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285202" y="3762811"/>
            <a:ext cx="975174" cy="25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AU" sz="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nline</a:t>
            </a:r>
          </a:p>
        </p:txBody>
      </p:sp>
      <p:cxnSp>
        <p:nvCxnSpPr>
          <p:cNvPr id="63" name="Elbow Connector 62"/>
          <p:cNvCxnSpPr>
            <a:stCxn id="31" idx="3"/>
            <a:endCxn id="66" idx="1"/>
          </p:cNvCxnSpPr>
          <p:nvPr/>
        </p:nvCxnSpPr>
        <p:spPr>
          <a:xfrm>
            <a:off x="2363244" y="2780025"/>
            <a:ext cx="2023156" cy="289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ounded Rectangle 66"/>
          <p:cNvSpPr/>
          <p:nvPr/>
        </p:nvSpPr>
        <p:spPr>
          <a:xfrm>
            <a:off x="2560424" y="3014000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cancelled land parcel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68" name="Elbow Connector 67"/>
          <p:cNvCxnSpPr>
            <a:endCxn id="67" idx="1"/>
          </p:cNvCxnSpPr>
          <p:nvPr/>
        </p:nvCxnSpPr>
        <p:spPr>
          <a:xfrm>
            <a:off x="2110344" y="2984425"/>
            <a:ext cx="450080" cy="299575"/>
          </a:xfrm>
          <a:prstGeom prst="bentConnector3">
            <a:avLst>
              <a:gd name="adj1" fmla="val -791"/>
            </a:avLst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Elbow Connector 69"/>
          <p:cNvCxnSpPr>
            <a:stCxn id="67" idx="3"/>
            <a:endCxn id="66" idx="2"/>
          </p:cNvCxnSpPr>
          <p:nvPr/>
        </p:nvCxnSpPr>
        <p:spPr>
          <a:xfrm flipV="1">
            <a:off x="4180424" y="3052915"/>
            <a:ext cx="1015976" cy="231085"/>
          </a:xfrm>
          <a:prstGeom prst="bentConnector2">
            <a:avLst/>
          </a:prstGeom>
          <a:ln w="28575">
            <a:solidFill>
              <a:schemeClr val="accent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2091465" y="3043173"/>
            <a:ext cx="725941" cy="441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AU" sz="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w </a:t>
            </a:r>
          </a:p>
          <a:p>
            <a:pPr>
              <a:lnSpc>
                <a:spcPct val="150000"/>
              </a:lnSpc>
            </a:pPr>
            <a:r>
              <a:rPr lang="en-AU" sz="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rcel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6274029" y="2532530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history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 flipV="1">
            <a:off x="6025555" y="2780026"/>
            <a:ext cx="243860" cy="1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ounded Rectangle 63"/>
          <p:cNvSpPr/>
          <p:nvPr/>
        </p:nvSpPr>
        <p:spPr>
          <a:xfrm>
            <a:off x="616605" y="1181445"/>
            <a:ext cx="1620000" cy="54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lodgement / case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65" name="Straight Arrow Connector 64"/>
          <p:cNvCxnSpPr>
            <a:stCxn id="64" idx="2"/>
            <a:endCxn id="5" idx="0"/>
          </p:cNvCxnSpPr>
          <p:nvPr/>
        </p:nvCxnSpPr>
        <p:spPr>
          <a:xfrm>
            <a:off x="1426605" y="1721445"/>
            <a:ext cx="0" cy="23508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763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47768" y="1277226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t next land parcel I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land parcel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1725121" y="2177226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land parcel recor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4" name="Straight Arrow Connector 93"/>
          <p:cNvCxnSpPr>
            <a:endCxn id="121" idx="2"/>
          </p:cNvCxnSpPr>
          <p:nvPr/>
        </p:nvCxnSpPr>
        <p:spPr>
          <a:xfrm>
            <a:off x="4362891" y="4342469"/>
            <a:ext cx="34640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/>
          <p:nvPr/>
        </p:nvCxnSpPr>
        <p:spPr>
          <a:xfrm>
            <a:off x="2667173" y="2897226"/>
            <a:ext cx="0" cy="180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709291" y="4212577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27" name="Straight Arrow Connector 126"/>
          <p:cNvCxnSpPr/>
          <p:nvPr/>
        </p:nvCxnSpPr>
        <p:spPr>
          <a:xfrm>
            <a:off x="2445201" y="1997226"/>
            <a:ext cx="0" cy="180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05041" y="150733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37" name="Straight Arrow Connector 136"/>
          <p:cNvCxnSpPr>
            <a:stCxn id="134" idx="6"/>
            <a:endCxn id="5" idx="1"/>
          </p:cNvCxnSpPr>
          <p:nvPr/>
        </p:nvCxnSpPr>
        <p:spPr>
          <a:xfrm>
            <a:off x="1267680" y="1637226"/>
            <a:ext cx="280088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15"/>
          <p:cNvSpPr/>
          <p:nvPr/>
        </p:nvSpPr>
        <p:spPr>
          <a:xfrm>
            <a:off x="2120852" y="3077226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land municipality recor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3023963" y="3802469"/>
            <a:ext cx="0" cy="180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ounded Rectangle 24"/>
          <p:cNvSpPr/>
          <p:nvPr/>
        </p:nvSpPr>
        <p:spPr>
          <a:xfrm>
            <a:off x="2490891" y="3982469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f present, create land address recor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4572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902578" y="2290612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t next 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ol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/ 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l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numbers and CD number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folio record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2700000" y="4275786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folio / parcel </a:t>
            </a:r>
            <a:r>
              <a:rPr lang="en-AU" sz="14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xref</a:t>
            </a:r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recor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2195736" y="3315576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folio record</a:t>
            </a:r>
          </a:p>
          <a:p>
            <a:pPr algn="ctr"/>
            <a:r>
              <a:rPr lang="en-AU" sz="9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ol</a:t>
            </a:r>
            <a:r>
              <a:rPr lang="en-AU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/ </a:t>
            </a:r>
            <a:r>
              <a:rPr lang="en-AU" sz="9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l</a:t>
            </a:r>
            <a:r>
              <a:rPr lang="en-AU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. Folio derivation dealing, CD No</a:t>
            </a:r>
            <a:endParaRPr lang="en-AU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4" name="Straight Arrow Connector 93"/>
          <p:cNvCxnSpPr>
            <a:endCxn id="121" idx="2"/>
          </p:cNvCxnSpPr>
          <p:nvPr/>
        </p:nvCxnSpPr>
        <p:spPr>
          <a:xfrm>
            <a:off x="4563207" y="4635786"/>
            <a:ext cx="34640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/>
          <p:nvPr/>
        </p:nvCxnSpPr>
        <p:spPr>
          <a:xfrm>
            <a:off x="3204056" y="4004527"/>
            <a:ext cx="0" cy="27126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909607" y="450589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27" name="Straight Arrow Connector 126"/>
          <p:cNvCxnSpPr/>
          <p:nvPr/>
        </p:nvCxnSpPr>
        <p:spPr>
          <a:xfrm>
            <a:off x="2800011" y="3010612"/>
            <a:ext cx="0" cy="30496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05041" y="150733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37" name="Straight Arrow Connector 136"/>
          <p:cNvCxnSpPr>
            <a:stCxn id="134" idx="6"/>
            <a:endCxn id="12" idx="1"/>
          </p:cNvCxnSpPr>
          <p:nvPr/>
        </p:nvCxnSpPr>
        <p:spPr>
          <a:xfrm>
            <a:off x="1267680" y="1637226"/>
            <a:ext cx="228772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/>
        </p:nvSpPr>
        <p:spPr>
          <a:xfrm>
            <a:off x="1496452" y="1277226"/>
            <a:ext cx="1872000" cy="720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folio &amp; proprietorship dealing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2432452" y="1985648"/>
            <a:ext cx="0" cy="30496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6898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47768" y="1277226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proprietor group record</a:t>
            </a:r>
          </a:p>
          <a:p>
            <a:pPr algn="ctr"/>
            <a:r>
              <a:rPr lang="en-AU" sz="9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ol</a:t>
            </a:r>
            <a:r>
              <a:rPr lang="en-AU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/ </a:t>
            </a:r>
            <a:r>
              <a:rPr lang="en-AU" sz="9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l</a:t>
            </a:r>
            <a:r>
              <a:rPr lang="en-AU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. Proprietorship dealing</a:t>
            </a:r>
            <a:endParaRPr lang="en-AU" sz="14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proprietorship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1873271" y="2302190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proprietor record</a:t>
            </a:r>
          </a:p>
          <a:p>
            <a:pPr algn="ctr"/>
            <a:r>
              <a:rPr lang="en-AU" sz="9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ovt</a:t>
            </a:r>
            <a:r>
              <a:rPr lang="en-AU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AU" sz="9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pr</a:t>
            </a:r>
            <a:r>
              <a:rPr lang="en-AU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ID</a:t>
            </a:r>
            <a:endParaRPr lang="en-AU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4" name="Straight Arrow Connector 93"/>
          <p:cNvCxnSpPr>
            <a:stCxn id="14" idx="3"/>
            <a:endCxn id="121" idx="2"/>
          </p:cNvCxnSpPr>
          <p:nvPr/>
        </p:nvCxnSpPr>
        <p:spPr>
          <a:xfrm>
            <a:off x="4177319" y="3735818"/>
            <a:ext cx="34895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26269" y="3605926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27" name="Straight Arrow Connector 126"/>
          <p:cNvCxnSpPr>
            <a:stCxn id="5" idx="2"/>
          </p:cNvCxnSpPr>
          <p:nvPr/>
        </p:nvCxnSpPr>
        <p:spPr>
          <a:xfrm>
            <a:off x="2483768" y="2033226"/>
            <a:ext cx="0" cy="26896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05041" y="150733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37" name="Straight Arrow Connector 136"/>
          <p:cNvCxnSpPr>
            <a:stCxn id="134" idx="6"/>
            <a:endCxn id="5" idx="1"/>
          </p:cNvCxnSpPr>
          <p:nvPr/>
        </p:nvCxnSpPr>
        <p:spPr>
          <a:xfrm>
            <a:off x="1267680" y="1637226"/>
            <a:ext cx="280088" cy="18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2305319" y="3357818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proprietor address record</a:t>
            </a:r>
            <a:endParaRPr lang="en-AU" sz="14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2809375" y="3086559"/>
            <a:ext cx="0" cy="27126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5375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47768" y="1277226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te endorsement header record</a:t>
            </a:r>
          </a:p>
          <a:p>
            <a:pPr algn="ctr"/>
            <a:r>
              <a:rPr lang="en-AU" sz="9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ol</a:t>
            </a:r>
            <a:r>
              <a:rPr lang="en-AU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/ </a:t>
            </a:r>
            <a:r>
              <a:rPr lang="en-AU" sz="90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l</a:t>
            </a:r>
            <a:r>
              <a:rPr lang="en-AU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. Proprietorship dealing</a:t>
            </a:r>
            <a:endParaRPr lang="en-AU" sz="14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9144000" cy="939809"/>
          </a:xfrm>
          <a:prstGeom prst="rect">
            <a:avLst/>
          </a:prstGeom>
          <a:solidFill>
            <a:schemeClr val="tx1"/>
          </a:solidFill>
        </p:spPr>
        <p:txBody>
          <a:bodyPr wrap="square" lIns="900000" tIns="252000" bIns="252000" rtlCol="0">
            <a:spAutoFit/>
          </a:bodyPr>
          <a:lstStyle/>
          <a:p>
            <a:r>
              <a:rPr lang="en-AU" sz="28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history</a:t>
            </a:r>
            <a:endParaRPr lang="en-AU" sz="2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1873271" y="2302190"/>
            <a:ext cx="1872000" cy="75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sert endorsement lines from generated CLSR</a:t>
            </a:r>
            <a:endParaRPr lang="en-AU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94" name="Straight Arrow Connector 93"/>
          <p:cNvCxnSpPr>
            <a:endCxn id="121" idx="2"/>
          </p:cNvCxnSpPr>
          <p:nvPr/>
        </p:nvCxnSpPr>
        <p:spPr>
          <a:xfrm>
            <a:off x="3784009" y="2680190"/>
            <a:ext cx="34895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32959" y="2550298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27" name="Straight Arrow Connector 126"/>
          <p:cNvCxnSpPr>
            <a:stCxn id="5" idx="2"/>
          </p:cNvCxnSpPr>
          <p:nvPr/>
        </p:nvCxnSpPr>
        <p:spPr>
          <a:xfrm>
            <a:off x="2483768" y="2033226"/>
            <a:ext cx="0" cy="268964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2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05041" y="1507334"/>
            <a:ext cx="262639" cy="25978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137" name="Straight Arrow Connector 136"/>
          <p:cNvCxnSpPr>
            <a:stCxn id="134" idx="6"/>
            <a:endCxn id="5" idx="1"/>
          </p:cNvCxnSpPr>
          <p:nvPr/>
        </p:nvCxnSpPr>
        <p:spPr>
          <a:xfrm>
            <a:off x="1267680" y="1637226"/>
            <a:ext cx="280088" cy="18000"/>
          </a:xfrm>
          <a:prstGeom prst="straightConnector1">
            <a:avLst/>
          </a:prstGeom>
          <a:ln w="28575">
            <a:solidFill>
              <a:schemeClr val="accent1"/>
            </a:solidFill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951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h0kzfWjEqDJbQr9Lza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h0kzfWjEqDJbQr9Lza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h0kzfWjEqDJbQr9Lza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58</TotalTime>
  <Words>482</Words>
  <Application>Microsoft Office PowerPoint</Application>
  <PresentationFormat>On-screen Show (4:3)</PresentationFormat>
  <Paragraphs>103</Paragraphs>
  <Slides>1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Victorian Governmen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eil Kloot</dc:creator>
  <cp:lastModifiedBy>Neil Kloot</cp:lastModifiedBy>
  <cp:revision>50</cp:revision>
  <dcterms:created xsi:type="dcterms:W3CDTF">2016-01-05T22:09:32Z</dcterms:created>
  <dcterms:modified xsi:type="dcterms:W3CDTF">2016-05-11T00:36:41Z</dcterms:modified>
</cp:coreProperties>
</file>